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85" r:id="rId3"/>
    <p:sldMasterId id="2147483692" r:id="rId4"/>
    <p:sldMasterId id="2147483699" r:id="rId5"/>
  </p:sldMasterIdLst>
  <p:notesMasterIdLst>
    <p:notesMasterId r:id="rId13"/>
  </p:notesMasterIdLst>
  <p:sldIdLst>
    <p:sldId id="265" r:id="rId6"/>
    <p:sldId id="258" r:id="rId7"/>
    <p:sldId id="260" r:id="rId8"/>
    <p:sldId id="261" r:id="rId9"/>
    <p:sldId id="262" r:id="rId10"/>
    <p:sldId id="263" r:id="rId11"/>
    <p:sldId id="264" r:id="rId12"/>
  </p:sldIdLst>
  <p:sldSz cx="12192000" cy="6858000"/>
  <p:notesSz cx="6858000" cy="9144000"/>
  <p:defaultTextStyle>
    <a:defPPr>
      <a:defRPr lang="af-Z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12" autoAdjust="0"/>
    <p:restoredTop sz="94660"/>
  </p:normalViewPr>
  <p:slideViewPr>
    <p:cSldViewPr snapToGrid="0">
      <p:cViewPr>
        <p:scale>
          <a:sx n="67" d="100"/>
          <a:sy n="67" d="100"/>
        </p:scale>
        <p:origin x="6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8FADB-CC9E-4670-9DDD-3C30567DA611}" type="datetimeFigureOut">
              <a:rPr lang="af-ZA" smtClean="0"/>
              <a:t>2021-01-27</a:t>
            </a:fld>
            <a:endParaRPr lang="af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f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f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259317-4E9C-46E9-9589-CB3EEBC18AA2}" type="slidenum">
              <a:rPr lang="af-ZA" smtClean="0"/>
              <a:t>‹#›</a:t>
            </a:fld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866327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864367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512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2283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63133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1958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3934" y="1268413"/>
            <a:ext cx="11904133" cy="5473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02733743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404093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1118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98821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5426264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3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9791563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97812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65630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3528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376632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910624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194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1464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46234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294403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6456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0154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92800B4-EFB5-47C7-869B-C6D663504982}" type="datetime1">
              <a:rPr lang="en-US" smtClean="0">
                <a:solidFill>
                  <a:prstClr val="black"/>
                </a:solidFill>
              </a:rPr>
              <a:pPr/>
              <a:t>1/27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9507F28-54A2-42BF-9A12-530212B34B4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021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21395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001108-C480-4D60-AC87-5E26CA168208}" type="datetime1">
              <a:rPr lang="en-US" smtClean="0">
                <a:solidFill>
                  <a:prstClr val="black"/>
                </a:solidFill>
              </a:rPr>
              <a:pPr/>
              <a:t>1/27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6438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915417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15556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00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01108-C480-4D60-AC87-5E26CA168208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247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6034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32F0C-CFEF-4764-A761-A8AD09E49DDA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02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DFC38-58BD-47D8-8F8D-5A13C9E84892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1EA07C-EE9C-40C2-ADB5-5ED734F62BC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1518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441" y="1500327"/>
            <a:ext cx="5344859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061" y="1500327"/>
            <a:ext cx="5346671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395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170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image" Target="../media/image8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5588240" y="6080006"/>
            <a:ext cx="101552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/>
          <a:srcRect t="6042" b="4962"/>
          <a:stretch/>
        </p:blipFill>
        <p:spPr>
          <a:xfrm>
            <a:off x="10776520" y="6080006"/>
            <a:ext cx="100575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20245-90A5-4BD6-A407-91F562333384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2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4171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7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17741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8" r:id="rId2"/>
    <p:sldLayoutId id="2147483690" r:id="rId3"/>
    <p:sldLayoutId id="2147483691" r:id="rId4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7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0219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7" r:id="rId3"/>
    <p:sldLayoutId id="2147483698" r:id="rId4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9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88822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C9C0296-10A1-467A-8459-D0A9DDBBCE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sz="2800" b="1" dirty="0"/>
              <a:t>Overview of the vaccines</a:t>
            </a:r>
            <a:endParaRPr lang="en-ZA" sz="28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F836AA-81F9-4330-9AB8-962BE55970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19379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 err="1">
                <a:solidFill>
                  <a:schemeClr val="bg1"/>
                </a:solidFill>
              </a:rPr>
              <a:t>Aztra</a:t>
            </a:r>
            <a:r>
              <a:rPr lang="en-ZA" sz="4000" b="1" dirty="0">
                <a:solidFill>
                  <a:schemeClr val="bg1"/>
                </a:solidFill>
              </a:rPr>
              <a:t> Zeneca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205345"/>
            <a:ext cx="11790218" cy="45704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rade name: </a:t>
            </a:r>
            <a:r>
              <a:rPr lang="en-ZA" sz="2100" dirty="0"/>
              <a:t>SII product called COVISHIEL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Viral Vector (Genetically Modified Ver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62%-90% (different trai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Dose interval: </a:t>
            </a:r>
            <a:r>
              <a:rPr lang="en-ZA" sz="2100" dirty="0"/>
              <a:t>4-12 weeks (12 weeks recommended </a:t>
            </a:r>
          </a:p>
          <a:p>
            <a:r>
              <a:rPr lang="en-ZA" sz="2100" dirty="0"/>
              <a:t>     by the MA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 vacc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/>
              <a:t>2-8°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af-ZA" sz="2100" dirty="0"/>
              <a:t>M</a:t>
            </a:r>
            <a:r>
              <a:rPr lang="af-ZA" sz="2100" dirty="0">
                <a:ea typeface="Arial" panose="020B0604020202020204" pitchFamily="34" charset="0"/>
              </a:rPr>
              <a:t>ild to moderate in severity and usually resolve</a:t>
            </a:r>
          </a:p>
          <a:p>
            <a:r>
              <a:rPr lang="af-ZA" sz="2100" dirty="0">
                <a:ea typeface="Arial" panose="020B0604020202020204" pitchFamily="34" charset="0"/>
              </a:rPr>
              <a:t>     within a few days of vaccination </a:t>
            </a:r>
            <a:r>
              <a:rPr lang="en-ZA" sz="2100" dirty="0">
                <a:ea typeface="Arial" panose="020B0604020202020204" pitchFamily="34" charset="0"/>
              </a:rPr>
              <a:t>injection</a:t>
            </a:r>
            <a:r>
              <a:rPr lang="af-ZA" sz="2100" dirty="0">
                <a:ea typeface="Arial" panose="020B0604020202020204" pitchFamily="34" charset="0"/>
              </a:rPr>
              <a:t> site tenderness; </a:t>
            </a:r>
          </a:p>
          <a:p>
            <a:r>
              <a:rPr lang="af-ZA" sz="2100" dirty="0">
                <a:ea typeface="Arial" panose="020B0604020202020204" pitchFamily="34" charset="0"/>
              </a:rPr>
              <a:t>      injection site pain, headache, fatigue; myalgia, malaise; pyrexia, </a:t>
            </a:r>
          </a:p>
          <a:p>
            <a:r>
              <a:rPr lang="af-ZA" sz="2100" dirty="0">
                <a:ea typeface="Arial" panose="020B0604020202020204" pitchFamily="34" charset="0"/>
              </a:rPr>
              <a:t>     chills; and arthralgia, nausea</a:t>
            </a:r>
            <a:endParaRPr lang="en-ZA" sz="2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af-ZA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467" y="1240795"/>
            <a:ext cx="3653910" cy="273453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18" y="3975334"/>
            <a:ext cx="4101809" cy="2734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499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>
                <a:solidFill>
                  <a:schemeClr val="bg1"/>
                </a:solidFill>
              </a:rPr>
              <a:t>Pfizer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63784"/>
            <a:ext cx="11790218" cy="558614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mRN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9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Dose interval: </a:t>
            </a:r>
            <a:r>
              <a:rPr lang="en-ZA" sz="2100" dirty="0"/>
              <a:t>21 days apar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Vaccine require reconstitu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/>
              <a:t>-70°C during storage and distribution, at vaccination site </a:t>
            </a:r>
          </a:p>
          <a:p>
            <a:r>
              <a:rPr lang="en-ZA" sz="2100" dirty="0"/>
              <a:t>     could be stored at 2-8°C for 1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Side effects (such as fever, chills, tiredness, and </a:t>
            </a:r>
          </a:p>
          <a:p>
            <a:r>
              <a:rPr lang="en-US" sz="2100" dirty="0"/>
              <a:t>     headache) throughout the body were more common after the</a:t>
            </a:r>
          </a:p>
          <a:p>
            <a:r>
              <a:rPr lang="en-US" sz="2100" dirty="0"/>
              <a:t>     second dose of the vaccine. Most side effects were mild to </a:t>
            </a:r>
          </a:p>
          <a:p>
            <a:r>
              <a:rPr lang="en-US" sz="2100" dirty="0"/>
              <a:t>     moderat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Allergic reaction could occur within 4 hours of</a:t>
            </a:r>
          </a:p>
          <a:p>
            <a:r>
              <a:rPr lang="en-US" sz="2100" i="1" dirty="0">
                <a:solidFill>
                  <a:srgbClr val="000000"/>
                </a:solidFill>
              </a:rPr>
              <a:t> getting vaccinated, including symptoms such as hives, swelling, </a:t>
            </a:r>
          </a:p>
          <a:p>
            <a:r>
              <a:rPr lang="en-US" sz="2100" i="1" dirty="0">
                <a:solidFill>
                  <a:srgbClr val="000000"/>
                </a:solidFill>
              </a:rPr>
              <a:t>or wheezing (respiratory distress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This includes allergic reactions to polyethylene glycol (PEG) and </a:t>
            </a:r>
          </a:p>
          <a:p>
            <a:r>
              <a:rPr lang="en-US" sz="2100" i="1" dirty="0" err="1">
                <a:solidFill>
                  <a:srgbClr val="000000"/>
                </a:solidFill>
              </a:rPr>
              <a:t>polysorbate</a:t>
            </a:r>
            <a:endParaRPr lang="af-ZA" sz="2100" i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967" y="1205345"/>
            <a:ext cx="4023360" cy="26822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967" y="4091745"/>
            <a:ext cx="4023360" cy="2653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361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>
                <a:solidFill>
                  <a:schemeClr val="bg1"/>
                </a:solidFill>
              </a:rPr>
              <a:t>J&amp;J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49926"/>
            <a:ext cx="5346748" cy="461664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af-ZA" sz="2100" dirty="0"/>
              <a:t>Ad26 Viral vector vacc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</a:t>
            </a:r>
            <a:r>
              <a:rPr lang="en-ZA" sz="2100" dirty="0"/>
              <a:t>: Currently in phase III -Target efficacy 70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 vacc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/>
              <a:t>2-8°C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Initial safety information released for the vaccine shows that the most common reactions after the vaccine was administered included: Injection site pain, Fatigue, Headache, Muscle aches. </a:t>
            </a:r>
          </a:p>
          <a:p>
            <a:pPr fontAlgn="base"/>
            <a:r>
              <a:rPr lang="en-US" sz="2100" dirty="0"/>
              <a:t>Phase III clinical trail in progres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991" y="2144370"/>
            <a:ext cx="5346748" cy="4616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181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 err="1">
                <a:solidFill>
                  <a:schemeClr val="bg1"/>
                </a:solidFill>
              </a:rPr>
              <a:t>Sinovac</a:t>
            </a:r>
            <a:r>
              <a:rPr lang="en-ZA" sz="4000" b="1" dirty="0">
                <a:solidFill>
                  <a:schemeClr val="bg1"/>
                </a:solidFill>
              </a:rPr>
              <a:t>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49926"/>
            <a:ext cx="7011266" cy="33239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Inactivated vaccine</a:t>
            </a:r>
            <a:endParaRPr lang="af-ZA" sz="2100" dirty="0">
              <a:solidFill>
                <a:srgbClr val="21212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50%-70% (different trial resul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Dose interval: </a:t>
            </a:r>
            <a:r>
              <a:rPr lang="en-ZA" sz="2100" dirty="0">
                <a:solidFill>
                  <a:prstClr val="black"/>
                </a:solidFill>
              </a:rPr>
              <a:t>14 day interval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 vaccin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>
                <a:solidFill>
                  <a:prstClr val="black"/>
                </a:solidFill>
              </a:rPr>
              <a:t>2-8°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Most adverse reactions were mild, with the most </a:t>
            </a:r>
          </a:p>
          <a:p>
            <a:r>
              <a:rPr lang="en-US" sz="2100" dirty="0"/>
              <a:t>common symptom being injection-site pai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987" y="1362699"/>
            <a:ext cx="3676340" cy="25462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309" y="4121677"/>
            <a:ext cx="3674018" cy="244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0985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>
                <a:solidFill>
                  <a:schemeClr val="bg1"/>
                </a:solidFill>
              </a:rPr>
              <a:t>Sputnik V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49926"/>
            <a:ext cx="11790218" cy="298543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Adenoviral vector vaccine </a:t>
            </a:r>
            <a:endParaRPr lang="af-ZA" sz="2100" dirty="0">
              <a:solidFill>
                <a:srgbClr val="21212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92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Dose interval: </a:t>
            </a:r>
            <a:r>
              <a:rPr lang="en-ZA" sz="2100" dirty="0">
                <a:solidFill>
                  <a:prstClr val="black"/>
                </a:solidFill>
              </a:rPr>
              <a:t>21 day interv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Reconstitution require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>
                <a:solidFill>
                  <a:prstClr val="black"/>
                </a:solidFill>
              </a:rPr>
              <a:t>2-8°C (freeze dried) require dilu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Most adverse reactions were mild, </a:t>
            </a:r>
            <a:r>
              <a:rPr lang="en-US" sz="2100" dirty="0">
                <a:solidFill>
                  <a:srgbClr val="000000"/>
                </a:solidFill>
              </a:rPr>
              <a:t>include a </a:t>
            </a:r>
          </a:p>
          <a:p>
            <a:r>
              <a:rPr lang="en-US" sz="2100" dirty="0">
                <a:solidFill>
                  <a:srgbClr val="000000"/>
                </a:solidFill>
              </a:rPr>
              <a:t>     fever of 38°C, headaches and muscle pain</a:t>
            </a:r>
            <a:endParaRPr lang="en-US" sz="21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36" y="1149926"/>
            <a:ext cx="3934691" cy="26224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35" y="4117471"/>
            <a:ext cx="3934691" cy="2436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744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 err="1">
                <a:solidFill>
                  <a:schemeClr val="bg1"/>
                </a:solidFill>
              </a:rPr>
              <a:t>Moderna</a:t>
            </a:r>
            <a:r>
              <a:rPr lang="en-ZA" sz="4000" b="1" dirty="0">
                <a:solidFill>
                  <a:schemeClr val="bg1"/>
                </a:solidFill>
              </a:rPr>
              <a:t>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8" y="1213425"/>
            <a:ext cx="11790218" cy="526297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mRNA</a:t>
            </a:r>
            <a:endParaRPr lang="af-ZA" sz="2100" dirty="0">
              <a:solidFill>
                <a:srgbClr val="21212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94.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Dose interval: </a:t>
            </a:r>
            <a:r>
              <a:rPr lang="en-ZA" sz="2100" dirty="0">
                <a:solidFill>
                  <a:prstClr val="black"/>
                </a:solidFill>
              </a:rPr>
              <a:t>28 day interv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>
                <a:solidFill>
                  <a:prstClr val="black"/>
                </a:solidFill>
              </a:rPr>
              <a:t>-20°C distribution storage  at vaccination site </a:t>
            </a:r>
          </a:p>
          <a:p>
            <a:pPr lvl="0"/>
            <a:r>
              <a:rPr lang="en-ZA" sz="2100" dirty="0">
                <a:solidFill>
                  <a:prstClr val="black"/>
                </a:solidFill>
              </a:rPr>
              <a:t>     could be stored at 2-8°C for 30 day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Side-effects: </a:t>
            </a:r>
            <a:r>
              <a:rPr lang="en-US" sz="2100" dirty="0">
                <a:solidFill>
                  <a:prstClr val="black"/>
                </a:solidFill>
              </a:rPr>
              <a:t>Side effects (such as fever, chills, tiredness, and</a:t>
            </a:r>
          </a:p>
          <a:p>
            <a:pPr lvl="0"/>
            <a:r>
              <a:rPr lang="en-US" sz="2100" dirty="0">
                <a:solidFill>
                  <a:prstClr val="black"/>
                </a:solidFill>
              </a:rPr>
              <a:t> headache) throughout the body were more common after the</a:t>
            </a:r>
          </a:p>
          <a:p>
            <a:pPr lvl="0"/>
            <a:r>
              <a:rPr lang="en-US" sz="2100" dirty="0">
                <a:solidFill>
                  <a:prstClr val="black"/>
                </a:solidFill>
              </a:rPr>
              <a:t> second dose of the vaccine. Most side effects were mild to moderate.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Allergic reaction could occur within 4 hours of</a:t>
            </a:r>
          </a:p>
          <a:p>
            <a:pPr lvl="0"/>
            <a:r>
              <a:rPr lang="en-US" sz="2100" i="1" dirty="0">
                <a:solidFill>
                  <a:srgbClr val="000000"/>
                </a:solidFill>
              </a:rPr>
              <a:t> getting vaccinated, including symptoms such as hives, swelling, </a:t>
            </a:r>
          </a:p>
          <a:p>
            <a:pPr lvl="0"/>
            <a:r>
              <a:rPr lang="en-US" sz="2100" i="1" dirty="0">
                <a:solidFill>
                  <a:srgbClr val="000000"/>
                </a:solidFill>
              </a:rPr>
              <a:t>or wheezing (respiratory distress).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This includes allergic reactions to polyethylene glycol (PEG) and </a:t>
            </a:r>
          </a:p>
          <a:p>
            <a:pPr lvl="0"/>
            <a:r>
              <a:rPr lang="en-US" sz="2100" i="1" dirty="0" err="1">
                <a:solidFill>
                  <a:srgbClr val="000000"/>
                </a:solidFill>
              </a:rPr>
              <a:t>polysorbate</a:t>
            </a:r>
            <a:endParaRPr lang="af-ZA" sz="2100" i="1" dirty="0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997" y="1213425"/>
            <a:ext cx="4326659" cy="324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514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4</Words>
  <Application>Microsoft Office PowerPoint</Application>
  <PresentationFormat>Widescreen</PresentationFormat>
  <Paragraphs>7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ourier New</vt:lpstr>
      <vt:lpstr>Verdana</vt:lpstr>
      <vt:lpstr>Custom Design</vt:lpstr>
      <vt:lpstr>8_Custom Design</vt:lpstr>
      <vt:lpstr>1_Custom Design</vt:lpstr>
      <vt:lpstr>2_Custom Design</vt:lpstr>
      <vt:lpstr>3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onm</dc:creator>
  <cp:lastModifiedBy>Anban Pillay</cp:lastModifiedBy>
  <cp:revision>61</cp:revision>
  <dcterms:created xsi:type="dcterms:W3CDTF">2020-09-30T07:19:26Z</dcterms:created>
  <dcterms:modified xsi:type="dcterms:W3CDTF">2021-01-27T16:39:09Z</dcterms:modified>
</cp:coreProperties>
</file>